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DAD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204" y="1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A1F07-E5D8-4CFC-BB86-478067A77D70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E14E7-302D-4E5A-A2EC-65C056F7ED1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3391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6806D7-E6F3-4464-AF02-8E34851609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94225" y="296863"/>
            <a:ext cx="7337247" cy="6264275"/>
          </a:xfrm>
        </p:spPr>
        <p:txBody>
          <a:bodyPr/>
          <a:lstStyle/>
          <a:p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95FE4B-BB41-44F6-8364-38F53D30EBFB}"/>
              </a:ext>
            </a:extLst>
          </p:cNvPr>
          <p:cNvSpPr/>
          <p:nvPr userDrawn="1"/>
        </p:nvSpPr>
        <p:spPr>
          <a:xfrm>
            <a:off x="260527" y="296862"/>
            <a:ext cx="4052427" cy="6264275"/>
          </a:xfrm>
          <a:prstGeom prst="rect">
            <a:avLst/>
          </a:prstGeom>
          <a:solidFill>
            <a:srgbClr val="3DAD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EBFA1F-50D0-4AD0-BF07-D0B2A4CC1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3191" y="683491"/>
            <a:ext cx="3347099" cy="2189018"/>
          </a:xfrm>
        </p:spPr>
        <p:txBody>
          <a:bodyPr anchor="b">
            <a:noAutofit/>
          </a:bodyPr>
          <a:lstStyle>
            <a:lvl1pPr algn="l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52687E-877C-4538-9ABD-9189920B19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3191" y="2917467"/>
            <a:ext cx="3347099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2FE367-5F67-4FF1-9F8C-AFF1085FA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C7369-6F69-43DB-99CD-833E6B55A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27575" y="6324117"/>
            <a:ext cx="5016499" cy="12311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68547-3770-4356-9C6B-C9977456D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2778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B6D0E-4A5D-43C8-9E88-33684D78D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CFF0-03FE-4202-A7A5-5B1D937B20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49AE86-AC90-4890-9A33-8178C55B8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49F459-3468-451D-998B-F3F33A4B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05EED5-71E3-425B-8A00-9ED27B56A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314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450A86-9D29-4B6F-9049-19CD9FAF1D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9491CD-B2E8-418C-8790-1C2AE47677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F21967-0A24-4628-9BBE-84D656DE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74453-E380-454A-8EA0-DC3FE4BA7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F2557-7AAB-40B9-A898-5C034B1D9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04694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4363B-36AD-486B-A3D8-F5CCBEB74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8BCB9-B65C-4127-B953-3D62D71F29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449F0-3EE1-4F6E-9B19-86E31CFF2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B28BE-7D6D-4C58-ADBF-14C763508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96B90B-55C9-44CB-9D65-7FC92314F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90565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C03FF-D6FC-493B-B2BC-3F40805D3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B2F09-A50E-4CAF-9996-3E731B85A8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4EFB9-6649-4FFD-A540-4C1BB6B1A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3BAF2E-8D89-4334-8580-D43C68489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246AF9-2ABE-4B80-924F-798B3583F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9210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8F975-6C0B-46E1-A8DC-654113159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AA946C-38EA-464E-8BF2-5B677B0AED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EADBBC-5ADE-4063-AD86-937BED22D1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4A7FE6-4AC1-4A2F-A1CD-137A57BE5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D8904D-B383-4F3D-AF40-53D8F40B0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087F03-D83E-495E-96C8-E7D715160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48680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39391-C10F-4444-95EA-EBE3BEA63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82A8B-506A-4325-96E1-ED9BF91B6A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187DC6-F279-4849-BEF9-86C10D881A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A8180-71B2-432A-8EEC-647B7831ED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EE54BF-1C3D-499D-BF35-5C857DC304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ACEB3B-5E31-4084-8C14-C5F239F96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53F94A-EB1E-44CA-8B74-690D43294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0A6A4C-19B7-40F6-AFD6-9E395AB1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5614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35C38-EC4F-4E33-A86E-3271A04C2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EE5FCB-C849-42E0-9DFD-2D2B79F00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8BB8B8-50EF-4699-AE9E-F91FE4BDC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CE151-627F-425D-961B-EFB071486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0554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ED8B7A-E8D4-493F-8F02-424AE0D27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6E0AEC-4ACF-4A0A-93BA-1E5111E02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06B1E6-6B81-4711-80B8-367D77F72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69791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4E9A9-FB27-4C68-BC58-9024EA490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C12A3-D9B9-456A-92CF-2D22ADF189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3FC3EE-D551-47D7-9D88-4D2990F9D8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619501-934A-4E52-BE21-6901033DA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11A18F-FDBE-488F-BED3-3E614B121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D6AF1B-61A6-43F0-A5EC-1D2D823D0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94465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7E7A7-EC76-4068-B6F5-13F1C17E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13A262-7743-4359-96AE-45CCE3CE8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AEA59D-C8D5-4866-9C44-A2F88C3C7A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9DC68-D8EC-4C34-A928-C2C3F1316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76C28-59AB-43C0-8308-ECD9A84BDF23}" type="datetimeFigureOut">
              <a:rPr lang="en-CA" smtClean="0"/>
              <a:t>2020-12-2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E55BF-456D-443E-A010-2018C9739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809179-B72E-4F48-B4B1-BF776ACC9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43F0E6-CCD9-4315-99DB-C5BD57829A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06753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8D3CFB-39A1-4979-A4BE-259EBA97E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FDE31-6700-41AB-AFA2-7D854DC7CE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C2365-9148-4624-8166-BE4FF85A90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44075" y="6324118"/>
            <a:ext cx="1609725" cy="1231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76C28-59AB-43C0-8308-ECD9A84BDF23}" type="datetimeFigureOut">
              <a:rPr lang="en-CA" smtClean="0"/>
              <a:pPr/>
              <a:t>2020-12-21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A10BD-2913-4E57-B146-9CEFADCE1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6324117"/>
            <a:ext cx="9348787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u="none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B6FEE-C2FB-44B0-A376-C92BDFD29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324118"/>
            <a:ext cx="442912" cy="1231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43F0E6-CCD9-4315-99DB-C5BD57829A10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73580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 userDrawn="1">
          <p15:clr>
            <a:srgbClr val="F26B43"/>
          </p15:clr>
        </p15:guide>
        <p15:guide id="2" pos="166" userDrawn="1">
          <p15:clr>
            <a:srgbClr val="F26B43"/>
          </p15:clr>
        </p15:guide>
        <p15:guide id="3" pos="7514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car parked in a field&#10;&#10;Description automatically generated">
            <a:extLst>
              <a:ext uri="{FF2B5EF4-FFF2-40B4-BE49-F238E27FC236}">
                <a16:creationId xmlns:a16="http://schemas.microsoft.com/office/drawing/2014/main" id="{B26E16D1-A275-42D6-AEC6-70BD19F455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0" r="6180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8D2E8D4-867E-41E2-A6FD-5D89A51E981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The Economic Impact of </a:t>
            </a:r>
            <a:br>
              <a:rPr lang="en-CA" dirty="0"/>
            </a:br>
            <a:r>
              <a:rPr lang="en-CA" dirty="0"/>
              <a:t>Ford and the </a:t>
            </a:r>
            <a:br>
              <a:rPr lang="en-CA" dirty="0"/>
            </a:br>
            <a:r>
              <a:rPr lang="en-CA" dirty="0"/>
              <a:t>F-Seri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11A4C72-3D6E-407F-9165-6AAF5F7344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CA" sz="2200" dirty="0"/>
              <a:t>September 2020</a:t>
            </a:r>
          </a:p>
        </p:txBody>
      </p:sp>
    </p:spTree>
    <p:extLst>
      <p:ext uri="{BB962C8B-B14F-4D97-AF65-F5344CB8AC3E}">
        <p14:creationId xmlns:p14="http://schemas.microsoft.com/office/powerpoint/2010/main" val="2364274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Clown">
      <a:dk1>
        <a:srgbClr val="414141"/>
      </a:dk1>
      <a:lt1>
        <a:sysClr val="window" lastClr="FFFFFF"/>
      </a:lt1>
      <a:dk2>
        <a:srgbClr val="414141"/>
      </a:dk2>
      <a:lt2>
        <a:srgbClr val="F8F8F8"/>
      </a:lt2>
      <a:accent1>
        <a:srgbClr val="FFD846"/>
      </a:accent1>
      <a:accent2>
        <a:srgbClr val="66C4F9"/>
      </a:accent2>
      <a:accent3>
        <a:srgbClr val="FF534F"/>
      </a:accent3>
      <a:accent4>
        <a:srgbClr val="3250D3"/>
      </a:accent4>
      <a:accent5>
        <a:srgbClr val="545E6A"/>
      </a:accent5>
      <a:accent6>
        <a:srgbClr val="FF8D01"/>
      </a:accent6>
      <a:hlink>
        <a:srgbClr val="414141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12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Open Sans</vt:lpstr>
      <vt:lpstr>Office Theme</vt:lpstr>
      <vt:lpstr>The Economic Impact of  Ford and the  F-Ser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tch</dc:creator>
  <cp:lastModifiedBy>Mitch</cp:lastModifiedBy>
  <cp:revision>6</cp:revision>
  <dcterms:created xsi:type="dcterms:W3CDTF">2020-12-21T21:46:05Z</dcterms:created>
  <dcterms:modified xsi:type="dcterms:W3CDTF">2020-12-21T22:43:09Z</dcterms:modified>
</cp:coreProperties>
</file>